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5A5A5A"/>
    <a:srgbClr val="767676"/>
    <a:srgbClr val="B7B7B7"/>
    <a:srgbClr val="DCDCDC"/>
    <a:srgbClr val="8D8D8D"/>
    <a:srgbClr val="C60018"/>
    <a:srgbClr val="E5E5E5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9:49:41.906" v="21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9:49:41.906" v="21" actId="27918"/>
        <pc:sldMkLst>
          <pc:docMk/>
          <pc:sldMk cId="3865012081" sldId="415"/>
        </pc:sldMkLst>
        <pc:spChg chg="mod">
          <ac:chgData name="Weigel Stefan (PAR-EPS)" userId="fd3b2067-2981-4ad8-bf3a-d2e1004e4fa8" providerId="ADAL" clId="{A4CFA2F4-FF8D-446B-B271-6DF568DBEADA}" dt="2026-01-14T09:15:09.867" v="15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12447868605344257"/>
          <c:w val="0.79430876353508262"/>
          <c:h val="0.62646005551913708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chemeClr val="accent4">
                <a:lumMod val="90000"/>
              </a:schemeClr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.7301999999999997E-2</c:v>
                </c:pt>
                <c:pt idx="4">
                  <c:v>0.80418599999999996</c:v>
                </c:pt>
                <c:pt idx="5">
                  <c:v>3.9528020000000001</c:v>
                </c:pt>
                <c:pt idx="6">
                  <c:v>9.4050329999999995</c:v>
                </c:pt>
                <c:pt idx="7">
                  <c:v>17.491479000000002</c:v>
                </c:pt>
                <c:pt idx="8">
                  <c:v>23.327812000000002</c:v>
                </c:pt>
                <c:pt idx="9">
                  <c:v>31.141587000000001</c:v>
                </c:pt>
                <c:pt idx="10">
                  <c:v>39.209615999999997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SBB.ch und SBB Mobil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7.974157000000002</c:v>
                </c:pt>
                <c:pt idx="1">
                  <c:v>24.389900000000001</c:v>
                </c:pt>
                <c:pt idx="2">
                  <c:v>32.353721</c:v>
                </c:pt>
                <c:pt idx="3">
                  <c:v>44.220541999999995</c:v>
                </c:pt>
                <c:pt idx="4">
                  <c:v>64.436859999999996</c:v>
                </c:pt>
                <c:pt idx="5">
                  <c:v>51.198005000000002</c:v>
                </c:pt>
                <c:pt idx="6">
                  <c:v>73.108429000000001</c:v>
                </c:pt>
                <c:pt idx="7">
                  <c:v>104.073866</c:v>
                </c:pt>
                <c:pt idx="8">
                  <c:v>126.675342</c:v>
                </c:pt>
                <c:pt idx="9">
                  <c:v>143.51680399999998</c:v>
                </c:pt>
                <c:pt idx="10">
                  <c:v>159.423482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Billettautomaten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7.893855000000002</c:v>
                </c:pt>
                <c:pt idx="1">
                  <c:v>49.305990000000001</c:v>
                </c:pt>
                <c:pt idx="2">
                  <c:v>48.396062999999998</c:v>
                </c:pt>
                <c:pt idx="3">
                  <c:v>46.495206000000003</c:v>
                </c:pt>
                <c:pt idx="4">
                  <c:v>42.206930999999997</c:v>
                </c:pt>
                <c:pt idx="5">
                  <c:v>24.688984000000001</c:v>
                </c:pt>
                <c:pt idx="6">
                  <c:v>24.878795</c:v>
                </c:pt>
                <c:pt idx="7">
                  <c:v>28.877310000000001</c:v>
                </c:pt>
                <c:pt idx="8">
                  <c:v>27.097303</c:v>
                </c:pt>
                <c:pt idx="9">
                  <c:v>24.156610000000001</c:v>
                </c:pt>
                <c:pt idx="10">
                  <c:v>22.09478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Reisezentren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19.757598999999999</c:v>
                </c:pt>
                <c:pt idx="1">
                  <c:v>15.980143999999999</c:v>
                </c:pt>
                <c:pt idx="2">
                  <c:v>14.588436</c:v>
                </c:pt>
                <c:pt idx="3">
                  <c:v>12.655569</c:v>
                </c:pt>
                <c:pt idx="4">
                  <c:v>11.47528</c:v>
                </c:pt>
                <c:pt idx="5">
                  <c:v>5.9818119999999997</c:v>
                </c:pt>
                <c:pt idx="6">
                  <c:v>6.406377</c:v>
                </c:pt>
                <c:pt idx="7">
                  <c:v>8.9507290000000008</c:v>
                </c:pt>
                <c:pt idx="8">
                  <c:v>9.2324219999999997</c:v>
                </c:pt>
                <c:pt idx="9">
                  <c:v>8.7664209999999994</c:v>
                </c:pt>
                <c:pt idx="10">
                  <c:v>8.153648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Übrige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1.9853100000000019</c:v>
                </c:pt>
                <c:pt idx="1">
                  <c:v>2.7727089999999954</c:v>
                </c:pt>
                <c:pt idx="2">
                  <c:v>3.5255739999999989</c:v>
                </c:pt>
                <c:pt idx="3">
                  <c:v>3.9583979999999954</c:v>
                </c:pt>
                <c:pt idx="4">
                  <c:v>4.7055430000000058</c:v>
                </c:pt>
                <c:pt idx="5">
                  <c:v>3.9473689999999948</c:v>
                </c:pt>
                <c:pt idx="6">
                  <c:v>4.2629159999999899</c:v>
                </c:pt>
                <c:pt idx="7">
                  <c:v>5.5397880000000299</c:v>
                </c:pt>
                <c:pt idx="8">
                  <c:v>6.5444120000000225</c:v>
                </c:pt>
                <c:pt idx="9">
                  <c:v>7.7272439999999847</c:v>
                </c:pt>
                <c:pt idx="10">
                  <c:v>8.2664560000000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1182968888625425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461</cdr:x>
      <cdr:y>0.03629</cdr:y>
    </cdr:from>
    <cdr:to>
      <cdr:x>0.17842</cdr:x>
      <cdr:y>0.0824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46974" y="190371"/>
          <a:ext cx="927461" cy="242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1100" dirty="0">
              <a:solidFill>
                <a:schemeClr val="tx2"/>
              </a:solidFill>
            </a:rPr>
            <a:t>Mio. Bill./Abo.</a:t>
          </a:r>
          <a:endParaRPr lang="de-CH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1775387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 err="1"/>
              <a:t>Billettabsatz</a:t>
            </a:r>
            <a:r>
              <a:rPr lang="de-CH" dirty="0"/>
              <a:t> nach Verkaufskanal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058017" y="6011247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Übrige: Automatische Abonnementsverlängerung, Partnervertrieb und SBB Contact Center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60837" y="57094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07AF923-41E0-466A-926B-A6EA104871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Billettabsatz nach Verkaufskanal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lettabsatz nach Verkaufskanal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